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8" r:id="rId1"/>
    <p:sldMasterId id="2147483848" r:id="rId2"/>
  </p:sldMasterIdLst>
  <p:notesMasterIdLst>
    <p:notesMasterId r:id="rId4"/>
  </p:notesMasterIdLst>
  <p:handoutMasterIdLst>
    <p:handoutMasterId r:id="rId5"/>
  </p:handoutMasterIdLst>
  <p:sldIdLst>
    <p:sldId id="337" r:id="rId3"/>
  </p:sldIdLst>
  <p:sldSz cx="10691813" cy="7559675"/>
  <p:notesSz cx="6858000" cy="9144000"/>
  <p:custDataLst>
    <p:tags r:id="rId6"/>
  </p:custDataLst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61" autoAdjust="0"/>
    <p:restoredTop sz="96439" autoAdjust="0"/>
  </p:normalViewPr>
  <p:slideViewPr>
    <p:cSldViewPr snapToGrid="0" snapToObjects="1" showGuides="1">
      <p:cViewPr varScale="1">
        <p:scale>
          <a:sx n="191" d="100"/>
          <a:sy n="191" d="100"/>
        </p:scale>
        <p:origin x="1776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1/12/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US" smtClean="0"/>
              <a:t>1/12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143000"/>
            <a:ext cx="4362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slide hv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/>
            </a:lvl1pPr>
          </a:lstStyle>
          <a:p>
            <a:r>
              <a:rPr lang="da-DK" noProof="0"/>
              <a:t>Klik for at redigere i master</a:t>
            </a:r>
          </a:p>
        </p:txBody>
      </p:sp>
      <p:sp>
        <p:nvSpPr>
          <p:cNvPr id="25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6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8" name="Pladsholder til tekst 5" descr="Socialstyrelsen Pay-off" title="Socialstyrelsen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8221410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2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616214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ørk grå">
    <p:bg>
      <p:bgPr>
        <a:solidFill>
          <a:srgbClr val="BCB5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1908497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ørk grå">
    <p:bg>
      <p:bgPr>
        <a:solidFill>
          <a:srgbClr val="BCB5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4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19" b="1">
                <a:solidFill>
                  <a:schemeClr val="tx2"/>
                </a:solidFill>
              </a:defRPr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2451277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905914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 userDrawn="1"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938987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lys gul">
    <p:bg>
      <p:bgPr>
        <a:solidFill>
          <a:srgbClr val="ECE3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381931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ul">
    <p:bg>
      <p:bgPr>
        <a:solidFill>
          <a:srgbClr val="ECE3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4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19" b="1">
                <a:solidFill>
                  <a:schemeClr val="tx2"/>
                </a:solidFill>
              </a:defRPr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5411656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4" name="Tekstfelt 23"/>
          <p:cNvSpPr txBox="1"/>
          <p:nvPr userDrawn="1"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</p:spTree>
    <p:extLst>
      <p:ext uri="{BB962C8B-B14F-4D97-AF65-F5344CB8AC3E}">
        <p14:creationId xmlns:p14="http://schemas.microsoft.com/office/powerpoint/2010/main" val="29899888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6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0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943632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blå">
    <p:bg>
      <p:bgPr>
        <a:solidFill>
          <a:srgbClr val="CD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380658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ørk gul">
    <p:bg>
      <p:bgPr>
        <a:solidFill>
          <a:srgbClr val="E9D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712359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blå">
    <p:bg>
      <p:bgPr>
        <a:solidFill>
          <a:srgbClr val="CD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4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19" b="1">
                <a:solidFill>
                  <a:schemeClr val="tx2"/>
                </a:solidFill>
              </a:defRPr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9522422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3857917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4307205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8115164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å">
    <p:bg>
      <p:bgPr>
        <a:solidFill>
          <a:srgbClr val="C6C7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9" name="Pladsholder til tekst 5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rgbClr val="C6C7C9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7" name="Pladsholder til tekst 5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8168794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rå">
    <p:bg>
      <p:bgPr>
        <a:solidFill>
          <a:srgbClr val="C6C7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4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19" b="1">
                <a:solidFill>
                  <a:schemeClr val="tx2"/>
                </a:solidFill>
              </a:defRPr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5616532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5727319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billede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691813" cy="755967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92"/>
            </a:lvl1pPr>
          </a:lstStyle>
          <a:p>
            <a:r>
              <a:rPr lang="da-DK" dirty="0"/>
              <a:t>For at indsætte et billede:</a:t>
            </a:r>
          </a:p>
          <a:p>
            <a:r>
              <a:rPr lang="da-DK" dirty="0"/>
              <a:t>Brug ikonet i midten, vælg et billede, læg herefter billedet bagerst, </a:t>
            </a:r>
          </a:p>
          <a:p>
            <a:r>
              <a:rPr lang="da-DK" dirty="0"/>
              <a:t>ved at højreklikke i billedet, og vælge ”send bagerst”.</a:t>
            </a:r>
          </a:p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2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Tekstfelt 22"/>
          <p:cNvSpPr txBox="1"/>
          <p:nvPr userDrawn="1"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</p:spTree>
    <p:extLst>
      <p:ext uri="{BB962C8B-B14F-4D97-AF65-F5344CB8AC3E}">
        <p14:creationId xmlns:p14="http://schemas.microsoft.com/office/powerpoint/2010/main" val="30589877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35061" y="1795423"/>
            <a:ext cx="9242108" cy="46827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11" name="Pladsholder til dato 10"/>
          <p:cNvSpPr>
            <a:spLocks noGrp="1"/>
          </p:cNvSpPr>
          <p:nvPr>
            <p:ph type="dt" sz="half" idx="10"/>
          </p:nvPr>
        </p:nvSpPr>
        <p:spPr>
          <a:xfrm>
            <a:off x="7551093" y="6671440"/>
            <a:ext cx="2405658" cy="402483"/>
          </a:xfrm>
        </p:spPr>
        <p:txBody>
          <a:bodyPr/>
          <a:lstStyle/>
          <a:p>
            <a:fld id="{32093634-C20B-404D-9B32-160DF8596A0B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13" name="Pladsholder til slide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863422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to indholdsobjekt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2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735058" y="3700465"/>
            <a:ext cx="4461938" cy="27777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515232" y="3700465"/>
            <a:ext cx="4461938" cy="27777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2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B4C28A-7D31-4164-AFC2-1B2E7EAA8BBB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15" name="Pladsholder til sidefod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16" name="Pladsholder til sli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kstfelt 16"/>
          <p:cNvSpPr txBox="1"/>
          <p:nvPr userDrawn="1"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3056360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ørk gul">
    <p:bg>
      <p:bgPr>
        <a:solidFill>
          <a:srgbClr val="E9D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4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19" b="1">
                <a:solidFill>
                  <a:schemeClr val="tx2"/>
                </a:solidFill>
              </a:defRPr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8171708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to billed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2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2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4"/>
          </p:nvPr>
        </p:nvSpPr>
        <p:spPr>
          <a:xfrm>
            <a:off x="714645" y="3701091"/>
            <a:ext cx="4461937" cy="2777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1" name="Pladsholder til billede 5"/>
          <p:cNvSpPr>
            <a:spLocks noGrp="1"/>
          </p:cNvSpPr>
          <p:nvPr>
            <p:ph type="pic" sz="quarter" idx="15"/>
          </p:nvPr>
        </p:nvSpPr>
        <p:spPr>
          <a:xfrm>
            <a:off x="5514281" y="3701091"/>
            <a:ext cx="4461938" cy="2777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88D491C-FCCA-40DF-B9F7-C38F5EF27627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14" name="Pladsholder til slidenumm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ekstfelt 14"/>
          <p:cNvSpPr txBox="1"/>
          <p:nvPr userDrawn="1"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1154956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orient="horz" pos="2381" userDrawn="1">
          <p15:clr>
            <a:srgbClr val="FBAE40"/>
          </p15:clr>
        </p15:guide>
        <p15:guide id="1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Indhold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924924" y="1041769"/>
            <a:ext cx="5052248" cy="54364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1" y="2430457"/>
            <a:ext cx="4063567" cy="40477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7D6C98F-620E-44C9-A609-1FD9F93B0EE6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kstfelt 11"/>
          <p:cNvSpPr txBox="1"/>
          <p:nvPr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35062" y="1041769"/>
            <a:ext cx="4063566" cy="1150562"/>
          </a:xfrm>
        </p:spPr>
        <p:txBody>
          <a:bodyPr anchor="t"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07473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billede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1" y="2430457"/>
            <a:ext cx="4063567" cy="40477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23A5FB-DDCF-4567-9127-6D88CF006196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kstfelt 11"/>
          <p:cNvSpPr txBox="1"/>
          <p:nvPr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7"/>
          </p:nvPr>
        </p:nvSpPr>
        <p:spPr>
          <a:xfrm>
            <a:off x="4924548" y="1041766"/>
            <a:ext cx="5052624" cy="5436456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735062" y="1041769"/>
            <a:ext cx="4063566" cy="1150562"/>
          </a:xfrm>
        </p:spPr>
        <p:txBody>
          <a:bodyPr anchor="t"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2200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27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1 billede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2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2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4"/>
          </p:nvPr>
        </p:nvSpPr>
        <p:spPr>
          <a:xfrm>
            <a:off x="735560" y="3701091"/>
            <a:ext cx="9242110" cy="2777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38A3A06-058E-4C20-BE07-8A2F6FE8325A}" type="datetime2">
              <a:rPr lang="da-DK" smtClean="0"/>
              <a:t>12. januar 2023</a:t>
            </a:fld>
            <a:endParaRPr lang="en-GB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Gruppeforløb for hjemmeboende unge med autisme</a:t>
            </a:r>
            <a:endParaRPr lang="en-GB" dirty="0"/>
          </a:p>
        </p:txBody>
      </p:sp>
      <p:sp>
        <p:nvSpPr>
          <p:cNvPr id="11" name="Pladsholder til slide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3107134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1 indhold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2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2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4"/>
          </p:nvPr>
        </p:nvSpPr>
        <p:spPr>
          <a:xfrm>
            <a:off x="735062" y="3701091"/>
            <a:ext cx="9242109" cy="27771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B4F93A2-E309-4CFC-8572-9BCDD4647728}" type="datetime2">
              <a:rPr lang="da-DK" smtClean="0"/>
              <a:t>12. januar 2023</a:t>
            </a:fld>
            <a:endParaRPr lang="en-GB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Gruppeforløb for hjemmeboende unge med autisme</a:t>
            </a:r>
            <a:endParaRPr lang="en-GB" dirty="0"/>
          </a:p>
        </p:txBody>
      </p:sp>
      <p:sp>
        <p:nvSpPr>
          <p:cNvPr id="11" name="Pladsholder til slide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1860973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Undertitel 2"/>
          <p:cNvSpPr>
            <a:spLocks noGrp="1"/>
          </p:cNvSpPr>
          <p:nvPr>
            <p:ph type="subTitle" idx="1"/>
          </p:nvPr>
        </p:nvSpPr>
        <p:spPr>
          <a:xfrm>
            <a:off x="4914844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19" b="1">
                <a:solidFill>
                  <a:schemeClr val="tx2"/>
                </a:solidFill>
              </a:defRPr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27" b="1" noProof="1"/>
              <a:t>For at indsætte</a:t>
            </a:r>
            <a:r>
              <a:rPr lang="en-GB" sz="827" b="1" baseline="0" noProof="1"/>
              <a:t> et billede</a:t>
            </a:r>
            <a:r>
              <a:rPr lang="en-GB" sz="827" baseline="0" noProof="1"/>
              <a:t>:</a:t>
            </a:r>
          </a:p>
          <a:p>
            <a:pPr algn="l"/>
            <a:endParaRPr lang="en-GB" sz="827" baseline="0" noProof="1"/>
          </a:p>
          <a:p>
            <a:pPr algn="l"/>
            <a:r>
              <a:rPr lang="en-GB" sz="827" baseline="0" noProof="1"/>
              <a:t>Brug ikonet i midten til at vælg et billede, læg herefter billedet bagerst, ved at højreklikke i billedet, og vælge ”send bagerst”.</a:t>
            </a:r>
            <a:endParaRPr lang="en-GB" sz="827" noProof="1"/>
          </a:p>
        </p:txBody>
      </p:sp>
      <p:sp>
        <p:nvSpPr>
          <p:cNvPr id="13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4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8" name="Pladsholder til billede 3"/>
          <p:cNvSpPr>
            <a:spLocks noGrp="1"/>
          </p:cNvSpPr>
          <p:nvPr>
            <p:ph type="pic" sz="quarter" idx="10" hasCustomPrompt="1"/>
          </p:nvPr>
        </p:nvSpPr>
        <p:spPr>
          <a:xfrm>
            <a:off x="8420" y="-14759"/>
            <a:ext cx="10691813" cy="7559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992"/>
            </a:lvl1pPr>
          </a:lstStyle>
          <a:p>
            <a:r>
              <a:rPr lang="en-GB" dirty="0"/>
              <a:t>For at </a:t>
            </a:r>
            <a:r>
              <a:rPr lang="en-GB" dirty="0" err="1"/>
              <a:t>indsætte</a:t>
            </a:r>
            <a:r>
              <a:rPr lang="en-GB" dirty="0"/>
              <a:t> et </a:t>
            </a:r>
            <a:r>
              <a:rPr lang="en-GB" dirty="0" err="1"/>
              <a:t>billede</a:t>
            </a:r>
            <a:r>
              <a:rPr lang="en-GB" dirty="0"/>
              <a:t>:</a:t>
            </a:r>
          </a:p>
          <a:p>
            <a:r>
              <a:rPr lang="en-GB" dirty="0" err="1"/>
              <a:t>Brug</a:t>
            </a:r>
            <a:r>
              <a:rPr lang="en-GB" dirty="0"/>
              <a:t> </a:t>
            </a:r>
            <a:r>
              <a:rPr lang="en-GB" dirty="0" err="1"/>
              <a:t>ikone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idten</a:t>
            </a:r>
            <a:r>
              <a:rPr lang="en-GB" dirty="0"/>
              <a:t>, </a:t>
            </a:r>
            <a:r>
              <a:rPr lang="en-GB" dirty="0" err="1"/>
              <a:t>vælg</a:t>
            </a:r>
            <a:r>
              <a:rPr lang="en-GB" dirty="0"/>
              <a:t> et </a:t>
            </a:r>
            <a:r>
              <a:rPr lang="en-GB" dirty="0" err="1"/>
              <a:t>billede</a:t>
            </a:r>
            <a:r>
              <a:rPr lang="en-GB" dirty="0"/>
              <a:t>, </a:t>
            </a:r>
            <a:r>
              <a:rPr lang="en-GB" dirty="0" err="1"/>
              <a:t>læg</a:t>
            </a:r>
            <a:r>
              <a:rPr lang="en-GB" dirty="0"/>
              <a:t> </a:t>
            </a:r>
            <a:r>
              <a:rPr lang="en-GB" dirty="0" err="1"/>
              <a:t>herefter</a:t>
            </a:r>
            <a:r>
              <a:rPr lang="en-GB" dirty="0"/>
              <a:t> </a:t>
            </a:r>
            <a:r>
              <a:rPr lang="en-GB" dirty="0" err="1"/>
              <a:t>billedet</a:t>
            </a:r>
            <a:r>
              <a:rPr lang="en-GB" dirty="0"/>
              <a:t> </a:t>
            </a:r>
            <a:r>
              <a:rPr lang="en-GB" dirty="0" err="1"/>
              <a:t>bagerst</a:t>
            </a:r>
            <a:r>
              <a:rPr lang="en-GB" dirty="0"/>
              <a:t>, </a:t>
            </a:r>
          </a:p>
          <a:p>
            <a:r>
              <a:rPr lang="en-GB" dirty="0" err="1"/>
              <a:t>ved</a:t>
            </a:r>
            <a:r>
              <a:rPr lang="en-GB" dirty="0"/>
              <a:t> at højreklikke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billedet</a:t>
            </a:r>
            <a:r>
              <a:rPr lang="en-GB" dirty="0"/>
              <a:t>,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ælge</a:t>
            </a:r>
            <a:r>
              <a:rPr lang="en-GB" dirty="0"/>
              <a:t> ”send </a:t>
            </a:r>
            <a:r>
              <a:rPr lang="en-GB" dirty="0" err="1"/>
              <a:t>bagerst</a:t>
            </a:r>
            <a:r>
              <a:rPr lang="en-GB" dirty="0"/>
              <a:t>”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69430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76FB67-8E23-423A-A143-C081958EFBEC}" type="datetime2">
              <a:rPr lang="da-DK" smtClean="0"/>
              <a:t>12. januar 2023</a:t>
            </a:fld>
            <a:endParaRPr lang="en-GB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Gruppeforløb for hjemmeboende unge med autisme</a:t>
            </a:r>
            <a:endParaRPr lang="en-GB" dirty="0"/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ekstfelt 7"/>
          <p:cNvSpPr txBox="1"/>
          <p:nvPr userDrawn="1"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34641808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dato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FDAC2-ED3F-4FBD-A939-E9B2C3B5513A}" type="datetime2">
              <a:rPr lang="da-DK" smtClean="0"/>
              <a:t>12. januar 2023</a:t>
            </a:fld>
            <a:endParaRPr lang="en-GB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Gruppeforløb for hjemmeboende unge med autisme</a:t>
            </a:r>
            <a:endParaRPr lang="en-GB" dirty="0"/>
          </a:p>
        </p:txBody>
      </p:sp>
      <p:sp>
        <p:nvSpPr>
          <p:cNvPr id="13" name="Pladsholder til slide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kstfelt 6"/>
          <p:cNvSpPr txBox="1"/>
          <p:nvPr userDrawn="1"/>
        </p:nvSpPr>
        <p:spPr>
          <a:xfrm>
            <a:off x="735061" y="6802190"/>
            <a:ext cx="1262953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744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6234015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 userDrawn="1"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7263030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36477" y="1237197"/>
            <a:ext cx="8018860" cy="2631887"/>
          </a:xfrm>
        </p:spPr>
        <p:txBody>
          <a:bodyPr anchor="b"/>
          <a:lstStyle>
            <a:lvl1pPr algn="ctr">
              <a:defRPr sz="3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1488"/>
            </a:lvl1pPr>
            <a:lvl2pPr marL="283484" indent="0" algn="ctr">
              <a:buNone/>
              <a:defRPr sz="1240"/>
            </a:lvl2pPr>
            <a:lvl3pPr marL="566968" indent="0" algn="ctr">
              <a:buNone/>
              <a:defRPr sz="1117"/>
            </a:lvl3pPr>
            <a:lvl4pPr marL="850452" indent="0" algn="ctr">
              <a:buNone/>
              <a:defRPr sz="992"/>
            </a:lvl4pPr>
            <a:lvl5pPr marL="1133936" indent="0" algn="ctr">
              <a:buNone/>
              <a:defRPr sz="992"/>
            </a:lvl5pPr>
            <a:lvl6pPr marL="1417420" indent="0" algn="ctr">
              <a:buNone/>
              <a:defRPr sz="992"/>
            </a:lvl6pPr>
            <a:lvl7pPr marL="1700904" indent="0" algn="ctr">
              <a:buNone/>
              <a:defRPr sz="992"/>
            </a:lvl7pPr>
            <a:lvl8pPr marL="1984388" indent="0" algn="ctr">
              <a:buNone/>
              <a:defRPr sz="992"/>
            </a:lvl8pPr>
            <a:lvl9pPr marL="2267872" indent="0" algn="ctr">
              <a:buNone/>
              <a:defRPr sz="99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1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552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8328827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slide hv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/>
            </a:lvl1pPr>
          </a:lstStyle>
          <a:p>
            <a:r>
              <a:rPr lang="da-DK" noProof="0"/>
              <a:t>Klik for at redigere i master</a:t>
            </a:r>
          </a:p>
        </p:txBody>
      </p:sp>
      <p:sp>
        <p:nvSpPr>
          <p:cNvPr id="25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6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8" name="Pladsholder til tekst 5" descr="Socialstyrelsen Pay-off" title="Socialstyrelsen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796351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ørk gul">
    <p:bg>
      <p:bgPr>
        <a:solidFill>
          <a:srgbClr val="E9D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6280547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ørk gul">
    <p:bg>
      <p:bgPr>
        <a:solidFill>
          <a:srgbClr val="E9D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2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25" b="1">
                <a:solidFill>
                  <a:schemeClr val="tx2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2216970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5911062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øn">
    <p:bg>
      <p:bgPr>
        <a:solidFill>
          <a:srgbClr val="BAD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2092431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røn">
    <p:bg>
      <p:bgPr>
        <a:solidFill>
          <a:srgbClr val="BAD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2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25" b="1">
                <a:solidFill>
                  <a:schemeClr val="tx2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6009938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0119335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5808295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0580617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2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4904673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øn">
    <p:bg>
      <p:bgPr>
        <a:solidFill>
          <a:srgbClr val="BAD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3622494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ørk grå">
    <p:bg>
      <p:bgPr>
        <a:solidFill>
          <a:srgbClr val="BCB5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41825254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ørk grå">
    <p:bg>
      <p:bgPr>
        <a:solidFill>
          <a:srgbClr val="BCB5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2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25" b="1">
                <a:solidFill>
                  <a:schemeClr val="tx2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2836695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42637638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 userDrawn="1"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5601614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lys gul">
    <p:bg>
      <p:bgPr>
        <a:solidFill>
          <a:srgbClr val="ECE3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777407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ul">
    <p:bg>
      <p:bgPr>
        <a:solidFill>
          <a:srgbClr val="ECE3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2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25" b="1">
                <a:solidFill>
                  <a:schemeClr val="tx2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9818692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4" name="Tekstfelt 23"/>
          <p:cNvSpPr txBox="1"/>
          <p:nvPr userDrawn="1"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</p:spTree>
    <p:extLst>
      <p:ext uri="{BB962C8B-B14F-4D97-AF65-F5344CB8AC3E}">
        <p14:creationId xmlns:p14="http://schemas.microsoft.com/office/powerpoint/2010/main" val="23333867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6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0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7308745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blå">
    <p:bg>
      <p:bgPr>
        <a:solidFill>
          <a:srgbClr val="CD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2134159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blå">
    <p:bg>
      <p:bgPr>
        <a:solidFill>
          <a:srgbClr val="CD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2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25" b="1">
                <a:solidFill>
                  <a:schemeClr val="tx2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3354592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røn">
    <p:bg>
      <p:bgPr>
        <a:solidFill>
          <a:srgbClr val="BAD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4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19" b="1">
                <a:solidFill>
                  <a:schemeClr val="tx2"/>
                </a:solidFill>
              </a:defRPr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6430917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5329698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2671720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7521753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å">
    <p:bg>
      <p:bgPr>
        <a:solidFill>
          <a:srgbClr val="C6C7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9" name="Pladsholder til tekst 5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rgbClr val="C6C7C9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7" name="Pladsholder til tekst 5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3752317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rå">
    <p:bg>
      <p:bgPr>
        <a:solidFill>
          <a:srgbClr val="C6C7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914842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25" b="1">
                <a:solidFill>
                  <a:schemeClr val="tx2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6274538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74999695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billede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691813" cy="755967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323"/>
            </a:lvl1pPr>
          </a:lstStyle>
          <a:p>
            <a:r>
              <a:rPr lang="da-DK" dirty="0"/>
              <a:t>For at indsætte et billede:</a:t>
            </a:r>
          </a:p>
          <a:p>
            <a:r>
              <a:rPr lang="da-DK" dirty="0"/>
              <a:t>Brug ikonet i midten, vælg et billede, læg herefter billedet bagerst, </a:t>
            </a:r>
          </a:p>
          <a:p>
            <a:r>
              <a:rPr lang="da-DK" dirty="0"/>
              <a:t>ved at højreklikke i billedet, og vælge ”send bagerst”.</a:t>
            </a:r>
          </a:p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2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Tekstfelt 22"/>
          <p:cNvSpPr txBox="1"/>
          <p:nvPr userDrawn="1"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</p:spTree>
    <p:extLst>
      <p:ext uri="{BB962C8B-B14F-4D97-AF65-F5344CB8AC3E}">
        <p14:creationId xmlns:p14="http://schemas.microsoft.com/office/powerpoint/2010/main" val="1638149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35061" y="1795423"/>
            <a:ext cx="9242108" cy="46827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11" name="Pladsholder til dato 10"/>
          <p:cNvSpPr>
            <a:spLocks noGrp="1"/>
          </p:cNvSpPr>
          <p:nvPr>
            <p:ph type="dt" sz="half" idx="10"/>
          </p:nvPr>
        </p:nvSpPr>
        <p:spPr>
          <a:xfrm>
            <a:off x="7551093" y="6671438"/>
            <a:ext cx="2405658" cy="402483"/>
          </a:xfrm>
        </p:spPr>
        <p:txBody>
          <a:bodyPr/>
          <a:lstStyle/>
          <a:p>
            <a:fld id="{32093634-C20B-404D-9B32-160DF8596A0B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13" name="Pladsholder til slide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751242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to indholdsobjekt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1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735058" y="3700463"/>
            <a:ext cx="4461938" cy="27777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515232" y="3700463"/>
            <a:ext cx="4461938" cy="27777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1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B4C28A-7D31-4164-AFC2-1B2E7EAA8BBB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15" name="Pladsholder til sidefod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16" name="Pladsholder til sli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kstfelt 16"/>
          <p:cNvSpPr txBox="1"/>
          <p:nvPr userDrawn="1"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405218484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to billed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1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1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4"/>
          </p:nvPr>
        </p:nvSpPr>
        <p:spPr>
          <a:xfrm>
            <a:off x="714644" y="3701091"/>
            <a:ext cx="4461937" cy="2777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1" name="Pladsholder til billede 5"/>
          <p:cNvSpPr>
            <a:spLocks noGrp="1"/>
          </p:cNvSpPr>
          <p:nvPr>
            <p:ph type="pic" sz="quarter" idx="15"/>
          </p:nvPr>
        </p:nvSpPr>
        <p:spPr>
          <a:xfrm>
            <a:off x="5514281" y="3701091"/>
            <a:ext cx="4461938" cy="2777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88D491C-FCCA-40DF-B9F7-C38F5EF27627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14" name="Pladsholder til slidenumm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ekstfelt 14"/>
          <p:cNvSpPr txBox="1"/>
          <p:nvPr userDrawn="1"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3109174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orient="horz" pos="2381" userDrawn="1">
          <p15:clr>
            <a:srgbClr val="FBAE40"/>
          </p15:clr>
        </p15:guide>
        <p15:guide id="1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8034176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Indhold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924923" y="1041767"/>
            <a:ext cx="5052248" cy="543645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0" y="2430455"/>
            <a:ext cx="4063567" cy="40477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7D6C98F-620E-44C9-A609-1FD9F93B0EE6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kstfelt 11"/>
          <p:cNvSpPr txBox="1"/>
          <p:nvPr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35062" y="1041766"/>
            <a:ext cx="4063566" cy="1150562"/>
          </a:xfrm>
        </p:spPr>
        <p:txBody>
          <a:bodyPr anchor="t"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3568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billede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0" y="2430455"/>
            <a:ext cx="4063567" cy="40477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23A5FB-DDCF-4567-9127-6D88CF006196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kstfelt 11"/>
          <p:cNvSpPr txBox="1"/>
          <p:nvPr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7"/>
          </p:nvPr>
        </p:nvSpPr>
        <p:spPr>
          <a:xfrm>
            <a:off x="4924546" y="1041766"/>
            <a:ext cx="5052624" cy="5436456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735062" y="1041766"/>
            <a:ext cx="4063566" cy="1150562"/>
          </a:xfrm>
        </p:spPr>
        <p:txBody>
          <a:bodyPr anchor="t"/>
          <a:lstStyle/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77262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02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1 billede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1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1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4"/>
          </p:nvPr>
        </p:nvSpPr>
        <p:spPr>
          <a:xfrm>
            <a:off x="735559" y="3701091"/>
            <a:ext cx="9242110" cy="27771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38A3A06-058E-4C20-BE07-8A2F6FE8325A}" type="datetime2">
              <a:rPr lang="da-DK" smtClean="0"/>
              <a:t>12. januar 2023</a:t>
            </a:fld>
            <a:endParaRPr lang="en-GB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Gruppeforløb for hjemmeboende unge med autisme</a:t>
            </a:r>
            <a:endParaRPr lang="en-GB" dirty="0"/>
          </a:p>
        </p:txBody>
      </p:sp>
      <p:sp>
        <p:nvSpPr>
          <p:cNvPr id="11" name="Pladsholder til slide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668866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1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1 indhold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5061" y="842944"/>
            <a:ext cx="9242109" cy="83344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735061" y="1795423"/>
            <a:ext cx="9242109" cy="17866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4"/>
          </p:nvPr>
        </p:nvSpPr>
        <p:spPr>
          <a:xfrm>
            <a:off x="735061" y="3701091"/>
            <a:ext cx="9242109" cy="27771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B4F93A2-E309-4CFC-8572-9BCDD4647728}" type="datetime2">
              <a:rPr lang="da-DK" smtClean="0"/>
              <a:t>12. januar 2023</a:t>
            </a:fld>
            <a:endParaRPr lang="en-GB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/>
              <a:t>Gruppeforløb for hjemmeboende unge med autisme</a:t>
            </a:r>
            <a:endParaRPr lang="en-GB" dirty="0"/>
          </a:p>
        </p:txBody>
      </p:sp>
      <p:sp>
        <p:nvSpPr>
          <p:cNvPr id="11" name="Pladsholder til slide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613755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1" userDrawn="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919586" y="3668715"/>
            <a:ext cx="841875" cy="3174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Undertitel 2"/>
          <p:cNvSpPr>
            <a:spLocks noGrp="1"/>
          </p:cNvSpPr>
          <p:nvPr>
            <p:ph type="subTitle" idx="1"/>
          </p:nvPr>
        </p:nvSpPr>
        <p:spPr>
          <a:xfrm>
            <a:off x="4914842" y="3867374"/>
            <a:ext cx="5062327" cy="5474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25" b="1">
                <a:solidFill>
                  <a:schemeClr val="tx2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da-DK"/>
              <a:t>Klik for at redigere undertiteltypografien i masteren</a:t>
            </a:r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2" b="1" noProof="1"/>
              <a:t>For at indsætte</a:t>
            </a:r>
            <a:r>
              <a:rPr lang="en-GB" sz="1102" b="1" baseline="0" noProof="1"/>
              <a:t> et billede</a:t>
            </a:r>
            <a:r>
              <a:rPr lang="en-GB" sz="1102" baseline="0" noProof="1"/>
              <a:t>:</a:t>
            </a:r>
          </a:p>
          <a:p>
            <a:pPr algn="l"/>
            <a:endParaRPr lang="en-GB" sz="1102" baseline="0" noProof="1"/>
          </a:p>
          <a:p>
            <a:pPr algn="l"/>
            <a:r>
              <a:rPr lang="en-GB" sz="1102" baseline="0" noProof="1"/>
              <a:t>Brug ikonet i midten til at vælg et billede, læg herefter billedet bagerst, ved at højreklikke i billedet, og vælge ”send bagerst”.</a:t>
            </a:r>
            <a:endParaRPr lang="en-GB" sz="1102" noProof="1"/>
          </a:p>
        </p:txBody>
      </p:sp>
      <p:sp>
        <p:nvSpPr>
          <p:cNvPr id="13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4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8" name="Pladsholder til billede 3"/>
          <p:cNvSpPr>
            <a:spLocks noGrp="1"/>
          </p:cNvSpPr>
          <p:nvPr>
            <p:ph type="pic" sz="quarter" idx="10" hasCustomPrompt="1"/>
          </p:nvPr>
        </p:nvSpPr>
        <p:spPr>
          <a:xfrm>
            <a:off x="8420" y="-14759"/>
            <a:ext cx="10691813" cy="7559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323"/>
            </a:lvl1pPr>
          </a:lstStyle>
          <a:p>
            <a:r>
              <a:rPr lang="en-GB" dirty="0"/>
              <a:t>For at </a:t>
            </a:r>
            <a:r>
              <a:rPr lang="en-GB" dirty="0" err="1"/>
              <a:t>indsætte</a:t>
            </a:r>
            <a:r>
              <a:rPr lang="en-GB" dirty="0"/>
              <a:t> et </a:t>
            </a:r>
            <a:r>
              <a:rPr lang="en-GB" dirty="0" err="1"/>
              <a:t>billede</a:t>
            </a:r>
            <a:r>
              <a:rPr lang="en-GB" dirty="0"/>
              <a:t>:</a:t>
            </a:r>
          </a:p>
          <a:p>
            <a:r>
              <a:rPr lang="en-GB" dirty="0" err="1"/>
              <a:t>Brug</a:t>
            </a:r>
            <a:r>
              <a:rPr lang="en-GB" dirty="0"/>
              <a:t> </a:t>
            </a:r>
            <a:r>
              <a:rPr lang="en-GB" dirty="0" err="1"/>
              <a:t>ikone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idten</a:t>
            </a:r>
            <a:r>
              <a:rPr lang="en-GB" dirty="0"/>
              <a:t>, </a:t>
            </a:r>
            <a:r>
              <a:rPr lang="en-GB" dirty="0" err="1"/>
              <a:t>vælg</a:t>
            </a:r>
            <a:r>
              <a:rPr lang="en-GB" dirty="0"/>
              <a:t> et </a:t>
            </a:r>
            <a:r>
              <a:rPr lang="en-GB" dirty="0" err="1"/>
              <a:t>billede</a:t>
            </a:r>
            <a:r>
              <a:rPr lang="en-GB" dirty="0"/>
              <a:t>, </a:t>
            </a:r>
            <a:r>
              <a:rPr lang="en-GB" dirty="0" err="1"/>
              <a:t>læg</a:t>
            </a:r>
            <a:r>
              <a:rPr lang="en-GB" dirty="0"/>
              <a:t> </a:t>
            </a:r>
            <a:r>
              <a:rPr lang="en-GB" dirty="0" err="1"/>
              <a:t>herefter</a:t>
            </a:r>
            <a:r>
              <a:rPr lang="en-GB" dirty="0"/>
              <a:t> </a:t>
            </a:r>
            <a:r>
              <a:rPr lang="en-GB" dirty="0" err="1"/>
              <a:t>billedet</a:t>
            </a:r>
            <a:r>
              <a:rPr lang="en-GB" dirty="0"/>
              <a:t> </a:t>
            </a:r>
            <a:r>
              <a:rPr lang="en-GB" dirty="0" err="1"/>
              <a:t>bagerst</a:t>
            </a:r>
            <a:r>
              <a:rPr lang="en-GB" dirty="0"/>
              <a:t>, </a:t>
            </a:r>
          </a:p>
          <a:p>
            <a:r>
              <a:rPr lang="en-GB" dirty="0" err="1"/>
              <a:t>ved</a:t>
            </a:r>
            <a:r>
              <a:rPr lang="en-GB" dirty="0"/>
              <a:t> at højreklikke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billedet</a:t>
            </a:r>
            <a:r>
              <a:rPr lang="en-GB" dirty="0"/>
              <a:t>,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ælge</a:t>
            </a:r>
            <a:r>
              <a:rPr lang="en-GB" dirty="0"/>
              <a:t> ”send </a:t>
            </a:r>
            <a:r>
              <a:rPr lang="en-GB" dirty="0" err="1"/>
              <a:t>bagerst</a:t>
            </a:r>
            <a:r>
              <a:rPr lang="en-GB" dirty="0"/>
              <a:t>”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1078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76FB67-8E23-423A-A143-C081958EFBEC}" type="datetime2">
              <a:rPr lang="da-DK" smtClean="0"/>
              <a:t>12. januar 2023</a:t>
            </a:fld>
            <a:endParaRPr lang="en-GB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Gruppeforløb for hjemmeboende unge med autisme</a:t>
            </a:r>
            <a:endParaRPr lang="en-GB" dirty="0"/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ekstfelt 7"/>
          <p:cNvSpPr txBox="1"/>
          <p:nvPr userDrawn="1"/>
        </p:nvSpPr>
        <p:spPr>
          <a:xfrm>
            <a:off x="735061" y="6802188"/>
            <a:ext cx="1262953" cy="152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92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8950682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815A03EF-D958-1798-A90B-9ABCA31B7D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0697892" cy="755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9039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3307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 userDrawn="1"/>
        </p:nvSpPr>
        <p:spPr>
          <a:xfrm>
            <a:off x="-1389842" y="168254"/>
            <a:ext cx="1305051" cy="195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102" b="1" dirty="0"/>
              <a:t>For at indsætte</a:t>
            </a:r>
            <a:r>
              <a:rPr lang="da-DK" sz="1102" b="1" baseline="0" dirty="0"/>
              <a:t> et billede</a:t>
            </a:r>
            <a:r>
              <a:rPr lang="da-DK" sz="1102" baseline="0" dirty="0"/>
              <a:t>:</a:t>
            </a:r>
          </a:p>
          <a:p>
            <a:pPr algn="l"/>
            <a:endParaRPr lang="da-DK" sz="1102" baseline="0" dirty="0"/>
          </a:p>
          <a:p>
            <a:pPr algn="l"/>
            <a:r>
              <a:rPr lang="da-DK" sz="1102" baseline="0" dirty="0"/>
              <a:t>Brug først ikonet i midten til at vælg et billede, læg herefter billedet bagerst, ved at højreklikke i billedet, og vælge ”send bagerst”.</a:t>
            </a:r>
            <a:endParaRPr lang="da-DK" sz="1102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94356940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36477" y="1237197"/>
            <a:ext cx="8018860" cy="2631887"/>
          </a:xfrm>
        </p:spPr>
        <p:txBody>
          <a:bodyPr anchor="b"/>
          <a:lstStyle>
            <a:lvl1pPr algn="ctr">
              <a:defRPr sz="496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1984"/>
            </a:lvl1pPr>
            <a:lvl2pPr marL="377979" indent="0" algn="ctr">
              <a:buNone/>
              <a:defRPr sz="1653"/>
            </a:lvl2pPr>
            <a:lvl3pPr marL="755957" indent="0" algn="ctr">
              <a:buNone/>
              <a:defRPr sz="1488"/>
            </a:lvl3pPr>
            <a:lvl4pPr marL="1133936" indent="0" algn="ctr">
              <a:buNone/>
              <a:defRPr sz="1323"/>
            </a:lvl4pPr>
            <a:lvl5pPr marL="1511915" indent="0" algn="ctr">
              <a:buNone/>
              <a:defRPr sz="1323"/>
            </a:lvl5pPr>
            <a:lvl6pPr marL="1889893" indent="0" algn="ctr">
              <a:buNone/>
              <a:defRPr sz="1323"/>
            </a:lvl6pPr>
            <a:lvl7pPr marL="2267872" indent="0" algn="ctr">
              <a:buNone/>
              <a:defRPr sz="1323"/>
            </a:lvl7pPr>
            <a:lvl8pPr marL="2645851" indent="0" algn="ctr">
              <a:buNone/>
              <a:defRPr sz="1323"/>
            </a:lvl8pPr>
            <a:lvl9pPr marL="3023829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1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048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15398112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88135" y="2497334"/>
            <a:ext cx="4809300" cy="2631887"/>
          </a:xfrm>
        </p:spPr>
        <p:txBody>
          <a:bodyPr anchor="ctr"/>
          <a:lstStyle>
            <a:lvl1pPr algn="l">
              <a:defRPr sz="248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389842" y="168254"/>
            <a:ext cx="1305051" cy="12378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827" b="1" dirty="0"/>
              <a:t>For at indsætte</a:t>
            </a:r>
            <a:r>
              <a:rPr lang="da-DK" sz="827" b="1" baseline="0" dirty="0"/>
              <a:t> et billede</a:t>
            </a:r>
            <a:r>
              <a:rPr lang="da-DK" sz="827" baseline="0" dirty="0"/>
              <a:t>:</a:t>
            </a:r>
          </a:p>
          <a:p>
            <a:pPr algn="l"/>
            <a:endParaRPr lang="da-DK" sz="827" baseline="0" dirty="0"/>
          </a:p>
          <a:p>
            <a:pPr algn="l"/>
            <a:r>
              <a:rPr lang="da-DK" sz="827" baseline="0" dirty="0"/>
              <a:t>Brug først ikonet i midten til at vælg et billede, læg herefter billedet bagerst, ved at højreklikke i billedet, og vælge ”send bagerst”.</a:t>
            </a:r>
            <a:endParaRPr lang="da-DK" sz="827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1085273" y="1847416"/>
            <a:ext cx="4087383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1057547" y="5639547"/>
            <a:ext cx="4127067" cy="33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/>
              <a:t>Rediger typografien i masterens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736641" y="3305622"/>
            <a:ext cx="1873172" cy="60318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4588219" y="6821565"/>
            <a:ext cx="1187044" cy="329372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1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</p:spTree>
    <p:extLst>
      <p:ext uri="{BB962C8B-B14F-4D97-AF65-F5344CB8AC3E}">
        <p14:creationId xmlns:p14="http://schemas.microsoft.com/office/powerpoint/2010/main" val="2451034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oleObject" Target="../embeddings/oleObject2.bin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F4C7F6-22F7-43AC-B708-FCC82EA52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281161236"/>
              </p:ext>
            </p:extLst>
          </p:nvPr>
        </p:nvGraphicFramePr>
        <p:xfrm>
          <a:off x="1858" y="1751"/>
          <a:ext cx="1857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F4C7F6-22F7-43AC-B708-FCC82EA52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7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735061" y="842944"/>
            <a:ext cx="9242108" cy="83344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7551093" y="6671440"/>
            <a:ext cx="2405658" cy="4024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44" b="1">
                <a:solidFill>
                  <a:schemeClr val="tx2"/>
                </a:solidFill>
              </a:defRPr>
            </a:lvl1pPr>
          </a:lstStyle>
          <a:p>
            <a:fld id="{A7FD876A-936A-4DE7-9677-0236EE18B641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735063" y="6915169"/>
            <a:ext cx="5565214" cy="1984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44" b="0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7551093" y="7006702"/>
            <a:ext cx="2405658" cy="4024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44">
                <a:solidFill>
                  <a:schemeClr val="bg1"/>
                </a:solidFill>
              </a:defRPr>
            </a:lvl1pPr>
          </a:lstStyle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idx="1"/>
          </p:nvPr>
        </p:nvSpPr>
        <p:spPr>
          <a:xfrm>
            <a:off x="735062" y="1795426"/>
            <a:ext cx="9221689" cy="46831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31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7" r:id="rId39"/>
  </p:sldLayoutIdLst>
  <p:hf hdr="0" dt="0"/>
  <p:txStyles>
    <p:titleStyle>
      <a:lvl1pPr algn="l" defTabSz="566968" rtl="0" eaLnBrk="1" latinLnBrk="0" hangingPunct="1">
        <a:lnSpc>
          <a:spcPct val="90000"/>
        </a:lnSpc>
        <a:spcBef>
          <a:spcPct val="0"/>
        </a:spcBef>
        <a:buNone/>
        <a:defRPr sz="248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8811" indent="-148811" algn="l" defTabSz="566968" rtl="0" eaLnBrk="1" latinLnBrk="0" hangingPunct="1">
        <a:lnSpc>
          <a:spcPct val="100000"/>
        </a:lnSpc>
        <a:spcBef>
          <a:spcPts val="621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297621" indent="-148811" algn="l" defTabSz="566968" rtl="0" eaLnBrk="1" latinLnBrk="0" hangingPunct="1">
        <a:lnSpc>
          <a:spcPct val="100000"/>
        </a:lnSpc>
        <a:spcBef>
          <a:spcPts val="310"/>
        </a:spcBef>
        <a:buFont typeface="Arial" panose="020B0604020202020204" pitchFamily="34" charset="0"/>
        <a:buChar char="-"/>
        <a:defRPr sz="1488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446432" indent="-148811" algn="l" defTabSz="566968" rtl="0" eaLnBrk="1" latinLnBrk="0" hangingPunct="1">
        <a:lnSpc>
          <a:spcPct val="100000"/>
        </a:lnSpc>
        <a:spcBef>
          <a:spcPts val="310"/>
        </a:spcBef>
        <a:buFont typeface="Arial" panose="020B0604020202020204" pitchFamily="34" charset="0"/>
        <a:buChar char="-"/>
        <a:defRPr sz="1488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595242" indent="-148811" algn="l" defTabSz="566968" rtl="0" eaLnBrk="1" latinLnBrk="0" hangingPunct="1">
        <a:lnSpc>
          <a:spcPct val="100000"/>
        </a:lnSpc>
        <a:spcBef>
          <a:spcPts val="310"/>
        </a:spcBef>
        <a:buFont typeface="Arial" panose="020B0604020202020204" pitchFamily="34" charset="0"/>
        <a:buChar char="-"/>
        <a:defRPr sz="1488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744053" indent="-148811" algn="l" defTabSz="566968" rtl="0" eaLnBrk="1" latinLnBrk="0" hangingPunct="1">
        <a:lnSpc>
          <a:spcPct val="100000"/>
        </a:lnSpc>
        <a:spcBef>
          <a:spcPts val="310"/>
        </a:spcBef>
        <a:buFont typeface="Arial" panose="020B0604020202020204" pitchFamily="34" charset="0"/>
        <a:buChar char="-"/>
        <a:defRPr sz="1488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1559163" indent="-141743" algn="l" defTabSz="566968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7" kern="1200">
          <a:solidFill>
            <a:schemeClr val="tx1"/>
          </a:solidFill>
          <a:latin typeface="+mn-lt"/>
          <a:ea typeface="+mn-ea"/>
          <a:cs typeface="+mn-cs"/>
        </a:defRPr>
      </a:lvl6pPr>
      <a:lvl7pPr marL="1842647" indent="-141743" algn="l" defTabSz="566968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7" kern="1200">
          <a:solidFill>
            <a:schemeClr val="tx1"/>
          </a:solidFill>
          <a:latin typeface="+mn-lt"/>
          <a:ea typeface="+mn-ea"/>
          <a:cs typeface="+mn-cs"/>
        </a:defRPr>
      </a:lvl7pPr>
      <a:lvl8pPr marL="2126131" indent="-141743" algn="l" defTabSz="566968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7" kern="1200">
          <a:solidFill>
            <a:schemeClr val="tx1"/>
          </a:solidFill>
          <a:latin typeface="+mn-lt"/>
          <a:ea typeface="+mn-ea"/>
          <a:cs typeface="+mn-cs"/>
        </a:defRPr>
      </a:lvl8pPr>
      <a:lvl9pPr marL="2409615" indent="-141743" algn="l" defTabSz="566968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1pPr>
      <a:lvl2pPr marL="283484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2pPr>
      <a:lvl3pPr marL="566968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3pPr>
      <a:lvl4pPr marL="850452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4pPr>
      <a:lvl5pPr marL="1133936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5pPr>
      <a:lvl6pPr marL="1417420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6pPr>
      <a:lvl7pPr marL="1700904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7pPr>
      <a:lvl8pPr marL="1984388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8pPr>
      <a:lvl9pPr marL="2267872" algn="l" defTabSz="566968" rtl="0" eaLnBrk="1" latinLnBrk="0" hangingPunct="1">
        <a:defRPr sz="11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2" orient="horz" pos="1131" userDrawn="1">
          <p15:clr>
            <a:srgbClr val="F26B43"/>
          </p15:clr>
        </p15:guide>
        <p15:guide id="13" pos="338" userDrawn="1">
          <p15:clr>
            <a:srgbClr val="F26B43"/>
          </p15:clr>
        </p15:guide>
        <p15:guide id="14" pos="4713" userDrawn="1">
          <p15:clr>
            <a:srgbClr val="F26B43"/>
          </p15:clr>
        </p15:guide>
        <p15:guide id="15" orient="horz" pos="40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F4C7F6-22F7-43AC-B708-FCC82EA52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252064272"/>
              </p:ext>
            </p:extLst>
          </p:nvPr>
        </p:nvGraphicFramePr>
        <p:xfrm>
          <a:off x="1857" y="1751"/>
          <a:ext cx="1857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F4C7F6-22F7-43AC-B708-FCC82EA52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857" y="1751"/>
                        <a:ext cx="1857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735061" y="842944"/>
            <a:ext cx="9242108" cy="83344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7551093" y="6671438"/>
            <a:ext cx="2405658" cy="4024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92" b="1">
                <a:solidFill>
                  <a:schemeClr val="tx2"/>
                </a:solidFill>
              </a:defRPr>
            </a:lvl1pPr>
          </a:lstStyle>
          <a:p>
            <a:fld id="{A7FD876A-936A-4DE7-9677-0236EE18B641}" type="datetime2">
              <a:rPr lang="da-DK" smtClean="0"/>
              <a:t>12. januar 2023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735061" y="6915169"/>
            <a:ext cx="5565214" cy="1984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992" b="0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Gruppeforløb for hjemmeboende unge med autisme - UDKAST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7551093" y="7006700"/>
            <a:ext cx="2405658" cy="4024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92">
                <a:solidFill>
                  <a:schemeClr val="bg1"/>
                </a:solidFill>
              </a:defRPr>
            </a:lvl1pPr>
          </a:lstStyle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idx="1"/>
          </p:nvPr>
        </p:nvSpPr>
        <p:spPr>
          <a:xfrm>
            <a:off x="735062" y="1795423"/>
            <a:ext cx="9221689" cy="46831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358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883" r:id="rId35"/>
    <p:sldLayoutId id="2147483884" r:id="rId36"/>
    <p:sldLayoutId id="2147483885" r:id="rId37"/>
    <p:sldLayoutId id="2147483886" r:id="rId38"/>
    <p:sldLayoutId id="2147483887" r:id="rId39"/>
  </p:sldLayoutIdLst>
  <p:hf hdr="0" dt="0"/>
  <p:txStyles>
    <p:titleStyle>
      <a:lvl1pPr algn="l" defTabSz="755957" rtl="0" eaLnBrk="1" latinLnBrk="0" hangingPunct="1">
        <a:lnSpc>
          <a:spcPct val="90000"/>
        </a:lnSpc>
        <a:spcBef>
          <a:spcPct val="0"/>
        </a:spcBef>
        <a:buNone/>
        <a:defRPr sz="3307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98414" indent="-198414" algn="l" defTabSz="755957" rtl="0" eaLnBrk="1" latinLnBrk="0" hangingPunct="1">
        <a:lnSpc>
          <a:spcPct val="100000"/>
        </a:lnSpc>
        <a:spcBef>
          <a:spcPts val="827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396828" indent="-198414" algn="l" defTabSz="755957" rtl="0" eaLnBrk="1" latinLnBrk="0" hangingPunct="1">
        <a:lnSpc>
          <a:spcPct val="100000"/>
        </a:lnSpc>
        <a:spcBef>
          <a:spcPts val="413"/>
        </a:spcBef>
        <a:buFont typeface="Arial" panose="020B0604020202020204" pitchFamily="34" charset="0"/>
        <a:buChar char="-"/>
        <a:defRPr sz="1984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595242" indent="-198414" algn="l" defTabSz="755957" rtl="0" eaLnBrk="1" latinLnBrk="0" hangingPunct="1">
        <a:lnSpc>
          <a:spcPct val="100000"/>
        </a:lnSpc>
        <a:spcBef>
          <a:spcPts val="413"/>
        </a:spcBef>
        <a:buFont typeface="Arial" panose="020B0604020202020204" pitchFamily="34" charset="0"/>
        <a:buChar char="-"/>
        <a:defRPr sz="1984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793656" indent="-198414" algn="l" defTabSz="755957" rtl="0" eaLnBrk="1" latinLnBrk="0" hangingPunct="1">
        <a:lnSpc>
          <a:spcPct val="100000"/>
        </a:lnSpc>
        <a:spcBef>
          <a:spcPts val="413"/>
        </a:spcBef>
        <a:buFont typeface="Arial" panose="020B0604020202020204" pitchFamily="34" charset="0"/>
        <a:buChar char="-"/>
        <a:defRPr sz="1984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992070" indent="-198414" algn="l" defTabSz="755957" rtl="0" eaLnBrk="1" latinLnBrk="0" hangingPunct="1">
        <a:lnSpc>
          <a:spcPct val="100000"/>
        </a:lnSpc>
        <a:spcBef>
          <a:spcPts val="413"/>
        </a:spcBef>
        <a:buFont typeface="Arial" panose="020B0604020202020204" pitchFamily="34" charset="0"/>
        <a:buChar char="-"/>
        <a:defRPr sz="1984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2078883" indent="-188989" algn="l" defTabSz="755957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861" indent="-188989" algn="l" defTabSz="755957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840" indent="-188989" algn="l" defTabSz="755957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819" indent="-188989" algn="l" defTabSz="755957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79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57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36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915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93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72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851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829" algn="l" defTabSz="755957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2" orient="horz" pos="1131" userDrawn="1">
          <p15:clr>
            <a:srgbClr val="F26B43"/>
          </p15:clr>
        </p15:guide>
        <p15:guide id="13" pos="450" userDrawn="1">
          <p15:clr>
            <a:srgbClr val="F26B43"/>
          </p15:clr>
        </p15:guide>
        <p15:guide id="14" pos="6285" userDrawn="1">
          <p15:clr>
            <a:srgbClr val="F26B43"/>
          </p15:clr>
        </p15:guide>
        <p15:guide id="15" orient="horz" pos="40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EEAAFA7-B27F-18F8-4F00-C1296C424979}"/>
              </a:ext>
            </a:extLst>
          </p:cNvPr>
          <p:cNvSpPr txBox="1">
            <a:spLocks/>
          </p:cNvSpPr>
          <p:nvPr/>
        </p:nvSpPr>
        <p:spPr>
          <a:xfrm>
            <a:off x="4606583" y="2589689"/>
            <a:ext cx="5072791" cy="1414139"/>
          </a:xfrm>
          <a:prstGeom prst="rect">
            <a:avLst/>
          </a:prstGeom>
        </p:spPr>
        <p:txBody>
          <a:bodyPr>
            <a:noAutofit/>
          </a:bodyPr>
          <a:lstStyle>
            <a:lvl1pPr marL="198414" indent="-198414" algn="l" defTabSz="755957" rtl="0" eaLnBrk="1" latinLnBrk="0" hangingPunct="1">
              <a:lnSpc>
                <a:spcPct val="100000"/>
              </a:lnSpc>
              <a:spcBef>
                <a:spcPts val="827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828" indent="-198414" algn="l" defTabSz="755957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Char char="-"/>
              <a:defRPr sz="1984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5242" indent="-198414" algn="l" defTabSz="755957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Char char="-"/>
              <a:defRPr sz="1984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3656" indent="-198414" algn="l" defTabSz="755957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Char char="-"/>
              <a:defRPr sz="1984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2070" indent="-198414" algn="l" defTabSz="755957" rtl="0" eaLnBrk="1" latinLnBrk="0" hangingPunct="1">
              <a:lnSpc>
                <a:spcPct val="100000"/>
              </a:lnSpc>
              <a:spcBef>
                <a:spcPts val="413"/>
              </a:spcBef>
              <a:buFont typeface="Arial" panose="020B0604020202020204" pitchFamily="34" charset="0"/>
              <a:buChar char="-"/>
              <a:defRPr sz="1984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83" indent="-188989" algn="l" defTabSz="755957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861" indent="-188989" algn="l" defTabSz="755957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840" indent="-188989" algn="l" defTabSz="755957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819" indent="-188989" algn="l" defTabSz="755957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da-DK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da-DK" sz="4800" b="1" dirty="0">
                <a:latin typeface="Calibri" panose="020F0502020204030204" pitchFamily="34" charset="0"/>
                <a:cs typeface="Calibri" panose="020F0502020204030204" pitchFamily="34" charset="0"/>
              </a:rPr>
              <a:t>Sofie Smith</a:t>
            </a:r>
            <a:endParaRPr lang="da-DK" sz="4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512A4742-1D83-84D9-48BE-EFA30B6C364F}"/>
              </a:ext>
            </a:extLst>
          </p:cNvPr>
          <p:cNvSpPr txBox="1"/>
          <p:nvPr/>
        </p:nvSpPr>
        <p:spPr>
          <a:xfrm>
            <a:off x="5768953" y="4546668"/>
            <a:ext cx="274805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050" dirty="0"/>
              <a:t>den 20. juni 20222 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4057F91F-D7F3-20EC-2AFA-C0406229D4F1}"/>
              </a:ext>
            </a:extLst>
          </p:cNvPr>
          <p:cNvSpPr txBox="1"/>
          <p:nvPr/>
        </p:nvSpPr>
        <p:spPr>
          <a:xfrm>
            <a:off x="5437155" y="5931108"/>
            <a:ext cx="341164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100" dirty="0"/>
              <a:t>Gruppevejlederens navn og stilling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0FFDEA6E-C5BF-86A5-78C0-AC477D635130}"/>
              </a:ext>
            </a:extLst>
          </p:cNvPr>
          <p:cNvSpPr txBox="1"/>
          <p:nvPr/>
        </p:nvSpPr>
        <p:spPr>
          <a:xfrm>
            <a:off x="5187364" y="5567379"/>
            <a:ext cx="3911229" cy="3308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1550" dirty="0"/>
              <a:t>Lone Christensen, gruppevejleder </a:t>
            </a:r>
          </a:p>
        </p:txBody>
      </p:sp>
    </p:spTree>
    <p:extLst>
      <p:ext uri="{BB962C8B-B14F-4D97-AF65-F5344CB8AC3E}">
        <p14:creationId xmlns:p14="http://schemas.microsoft.com/office/powerpoint/2010/main" val="3436348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cialstyrelsen DK">
  <a:themeElements>
    <a:clrScheme name="Socialstyrelsen PPT">
      <a:dk1>
        <a:sysClr val="windowText" lastClr="000000"/>
      </a:dk1>
      <a:lt1>
        <a:sysClr val="window" lastClr="FFFFFF"/>
      </a:lt1>
      <a:dk2>
        <a:srgbClr val="AF292E"/>
      </a:dk2>
      <a:lt2>
        <a:srgbClr val="797777"/>
      </a:lt2>
      <a:accent1>
        <a:srgbClr val="C27030"/>
      </a:accent1>
      <a:accent2>
        <a:srgbClr val="6C8777"/>
      </a:accent2>
      <a:accent3>
        <a:srgbClr val="595959"/>
      </a:accent3>
      <a:accent4>
        <a:srgbClr val="E4BC2F"/>
      </a:accent4>
      <a:accent5>
        <a:srgbClr val="7090AD"/>
      </a:accent5>
      <a:accent6>
        <a:srgbClr val="7C767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1100" dirty="0" smtClean="0"/>
        </a:defPPr>
      </a:lstStyle>
    </a:txDef>
  </a:objectDefaults>
  <a:extraClrSchemeLst/>
  <a:custClrLst>
    <a:custClr name="Custom Color 1">
      <a:srgbClr val="E9D392"/>
    </a:custClr>
    <a:custClr name="Custom Color 2">
      <a:srgbClr val="BAD9C1"/>
    </a:custClr>
    <a:custClr name="Custom Color 3">
      <a:srgbClr val="C6C7C9"/>
    </a:custClr>
    <a:custClr name="Custom Color 4">
      <a:srgbClr val="ECE38A"/>
    </a:custClr>
    <a:custClr name="Custom Color 5">
      <a:srgbClr val="CDE7EE"/>
    </a:custClr>
    <a:custClr name="Custom Color 6">
      <a:srgbClr val="BCB5B2"/>
    </a:custClr>
    <a:custClr name="Custom Color 7">
      <a:srgbClr val="D2E4BE"/>
    </a:custClr>
    <a:custClr name="Custom Color 8">
      <a:srgbClr val="CDDEF3"/>
    </a:custClr>
    <a:custClr name="Custom Color 9">
      <a:srgbClr val="DED5CB"/>
    </a:custClr>
    <a:custClr name="Custom Color 10">
      <a:srgbClr val="F9F8E0"/>
    </a:custClr>
  </a:custClrLst>
  <a:extLst>
    <a:ext uri="{05A4C25C-085E-4340-85A3-A5531E510DB2}">
      <thm15:themeFamily xmlns:thm15="http://schemas.microsoft.com/office/thememl/2012/main" name="PowerPoint skabelon-DK-28.5.17" id="{11AABAF5-F9E5-4183-8D88-86089682D0BF}" vid="{0F429F3F-D869-446F-BAD2-D0321B1993C1}"/>
    </a:ext>
  </a:extLst>
</a:theme>
</file>

<file path=ppt/theme/theme2.xml><?xml version="1.0" encoding="utf-8"?>
<a:theme xmlns:a="http://schemas.openxmlformats.org/drawingml/2006/main" name="1_Socialstyrelsen DK">
  <a:themeElements>
    <a:clrScheme name="Socialstyrelsen PPT">
      <a:dk1>
        <a:sysClr val="windowText" lastClr="000000"/>
      </a:dk1>
      <a:lt1>
        <a:sysClr val="window" lastClr="FFFFFF"/>
      </a:lt1>
      <a:dk2>
        <a:srgbClr val="AF292E"/>
      </a:dk2>
      <a:lt2>
        <a:srgbClr val="797777"/>
      </a:lt2>
      <a:accent1>
        <a:srgbClr val="C27030"/>
      </a:accent1>
      <a:accent2>
        <a:srgbClr val="6C8777"/>
      </a:accent2>
      <a:accent3>
        <a:srgbClr val="595959"/>
      </a:accent3>
      <a:accent4>
        <a:srgbClr val="E4BC2F"/>
      </a:accent4>
      <a:accent5>
        <a:srgbClr val="7090AD"/>
      </a:accent5>
      <a:accent6>
        <a:srgbClr val="7C767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1100" dirty="0" smtClean="0"/>
        </a:defPPr>
      </a:lstStyle>
    </a:txDef>
  </a:objectDefaults>
  <a:extraClrSchemeLst/>
  <a:custClrLst>
    <a:custClr name="Custom Color 1">
      <a:srgbClr val="E9D392"/>
    </a:custClr>
    <a:custClr name="Custom Color 2">
      <a:srgbClr val="BAD9C1"/>
    </a:custClr>
    <a:custClr name="Custom Color 3">
      <a:srgbClr val="C6C7C9"/>
    </a:custClr>
    <a:custClr name="Custom Color 4">
      <a:srgbClr val="ECE38A"/>
    </a:custClr>
    <a:custClr name="Custom Color 5">
      <a:srgbClr val="CDE7EE"/>
    </a:custClr>
    <a:custClr name="Custom Color 6">
      <a:srgbClr val="BCB5B2"/>
    </a:custClr>
    <a:custClr name="Custom Color 7">
      <a:srgbClr val="D2E4BE"/>
    </a:custClr>
    <a:custClr name="Custom Color 8">
      <a:srgbClr val="CDDEF3"/>
    </a:custClr>
    <a:custClr name="Custom Color 9">
      <a:srgbClr val="DED5CB"/>
    </a:custClr>
    <a:custClr name="Custom Color 10">
      <a:srgbClr val="F9F8E0"/>
    </a:custClr>
  </a:custClrLst>
  <a:extLst>
    <a:ext uri="{05A4C25C-085E-4340-85A3-A5531E510DB2}">
      <thm15:themeFamily xmlns:thm15="http://schemas.microsoft.com/office/thememl/2012/main" name="PowerPoint skabelon-DK-28.5.17" id="{11AABAF5-F9E5-4183-8D88-86089682D0BF}" vid="{0F429F3F-D869-446F-BAD2-D0321B1993C1}"/>
    </a:ext>
  </a:ext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</TotalTime>
  <Words>15</Words>
  <Application>Microsoft Macintosh PowerPoint</Application>
  <PresentationFormat>Brugerdefineret</PresentationFormat>
  <Paragraphs>5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Arial</vt:lpstr>
      <vt:lpstr>Calibri</vt:lpstr>
      <vt:lpstr>Socialstyrelsen DK</vt:lpstr>
      <vt:lpstr>1_Socialstyrelsen DK</vt:lpstr>
      <vt:lpstr>think-cell Slide</vt:lpstr>
      <vt:lpstr>PowerPoint-præsentation</vt:lpstr>
    </vt:vector>
  </TitlesOfParts>
  <Manager/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Lea Grønfeldt (DK)</dc:creator>
  <cp:keywords/>
  <dc:description/>
  <cp:lastModifiedBy>Aksel Karlsson</cp:lastModifiedBy>
  <cp:revision>6</cp:revision>
  <dcterms:created xsi:type="dcterms:W3CDTF">2021-07-05T08:07:46Z</dcterms:created>
  <dcterms:modified xsi:type="dcterms:W3CDTF">2023-01-12T07:02:0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</Properties>
</file>